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7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52-4DA5-BF8A-FA8CC27FDE5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52-4DA5-BF8A-FA8CC27FDE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19238336"/>
        <c:axId val="61923785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52-4DA5-BF8A-FA8CC27FDE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9234976"/>
        <c:axId val="619218656"/>
      </c:lineChart>
      <c:catAx>
        <c:axId val="619234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18656"/>
        <c:crosses val="autoZero"/>
        <c:auto val="1"/>
        <c:lblAlgn val="ctr"/>
        <c:lblOffset val="100"/>
        <c:noMultiLvlLbl val="0"/>
      </c:catAx>
      <c:valAx>
        <c:axId val="619218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34976"/>
        <c:crosses val="autoZero"/>
        <c:crossBetween val="between"/>
      </c:valAx>
      <c:valAx>
        <c:axId val="61923785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619238336"/>
        <c:crosses val="max"/>
        <c:crossBetween val="between"/>
      </c:valAx>
      <c:catAx>
        <c:axId val="6192383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192378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353B34-0328-7286-AE83-5B82A23C79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ED4CA8-0948-FDF1-7176-D0DB1466FC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4E1000-4360-06FF-80CC-4F792E5070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6054DD-B823-7B7B-CFA1-F703F73E7D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245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54C2CE-DE8B-F0D6-DC13-26132A7BD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176B001-8AC4-D087-D370-C6365957A6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76B001-8AC4-D087-D370-C6365957A6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DAF5ECF9-665D-50B2-BEFF-3E52B6912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acked Bar / Line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D642F86-11A7-6BE2-021E-7FFB6083C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390EB6B-2DD3-CE22-F2C8-E8FD7FD547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7D15C382-7A45-8429-08EA-7CD8FB6E2B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16" name="Chart Placeholder 15">
            <a:extLst>
              <a:ext uri="{FF2B5EF4-FFF2-40B4-BE49-F238E27FC236}">
                <a16:creationId xmlns:a16="http://schemas.microsoft.com/office/drawing/2014/main" id="{871714FB-0AEA-D8D5-35AC-CDF4D156DF5D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76696B03-F092-67B9-3B0D-6194E38443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E3BFEB62-FE67-DC5B-8DE5-1A745F5952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7972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3</TotalTime>
  <Words>87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acked Bar / Line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08</cp:revision>
  <dcterms:created xsi:type="dcterms:W3CDTF">2025-07-09T10:57:17Z</dcterms:created>
  <dcterms:modified xsi:type="dcterms:W3CDTF">2025-10-22T09:58:20Z</dcterms:modified>
  <cp:category/>
</cp:coreProperties>
</file>